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8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9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0.xml" ContentType="application/vnd.openxmlformats-officedocument.them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1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8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  <p:sldMasterId id="2147483702" r:id="rId6"/>
    <p:sldMasterId id="2147483721" r:id="rId7"/>
    <p:sldMasterId id="2147483729" r:id="rId8"/>
    <p:sldMasterId id="2147483737" r:id="rId9"/>
    <p:sldMasterId id="2147483745" r:id="rId10"/>
    <p:sldMasterId id="2147483764" r:id="rId11"/>
    <p:sldMasterId id="2147483785" r:id="rId12"/>
    <p:sldMasterId id="2147483793" r:id="rId13"/>
    <p:sldMasterId id="2147483801" r:id="rId14"/>
  </p:sldMasterIdLst>
  <p:notesMasterIdLst>
    <p:notesMasterId r:id="rId16"/>
  </p:notesMasterIdLst>
  <p:handoutMasterIdLst>
    <p:handoutMasterId r:id="rId17"/>
  </p:handoutMasterIdLst>
  <p:sldIdLst>
    <p:sldId id="2147482944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 be deleted" id="{2AA056E4-0137-4647-BF99-3F3A4C1245A7}">
          <p14:sldIdLst>
            <p14:sldId id="214748294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153F"/>
    <a:srgbClr val="C8A5F0"/>
    <a:srgbClr val="D2D2D2"/>
    <a:srgbClr val="F5F5F5"/>
    <a:srgbClr val="DDDDDD"/>
    <a:srgbClr val="E8E8E8"/>
    <a:srgbClr val="E1E1E1"/>
    <a:srgbClr val="E6E6E6"/>
    <a:srgbClr val="C8C8C8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3BDCE1-D90D-4ABF-9569-05935EF3CAC6}" v="13" dt="2025-07-15T16:55:12.9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5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debur-Wicheln, Gregor" userId="43259724-beae-4305-9bef-fe1457efee71" providerId="ADAL" clId="{88664497-B812-4482-8717-6E4A3D6A3659}"/>
    <pc:docChg chg="undo custSel addSld delSld modSld modSection">
      <pc:chgData name="Ledebur-Wicheln, Gregor" userId="43259724-beae-4305-9bef-fe1457efee71" providerId="ADAL" clId="{88664497-B812-4482-8717-6E4A3D6A3659}" dt="2025-07-06T16:08:58.277" v="180" actId="14100"/>
      <pc:docMkLst>
        <pc:docMk/>
      </pc:docMkLst>
      <pc:sldChg chg="delSp del mod">
        <pc:chgData name="Ledebur-Wicheln, Gregor" userId="43259724-beae-4305-9bef-fe1457efee71" providerId="ADAL" clId="{88664497-B812-4482-8717-6E4A3D6A3659}" dt="2025-07-06T15:55:20.206" v="2" actId="47"/>
        <pc:sldMkLst>
          <pc:docMk/>
          <pc:sldMk cId="4136518184" sldId="344"/>
        </pc:sldMkLst>
      </pc:sldChg>
      <pc:sldChg chg="addSp delSp modSp add mod">
        <pc:chgData name="Ledebur-Wicheln, Gregor" userId="43259724-beae-4305-9bef-fe1457efee71" providerId="ADAL" clId="{88664497-B812-4482-8717-6E4A3D6A3659}" dt="2025-07-06T16:08:58.277" v="180" actId="14100"/>
        <pc:sldMkLst>
          <pc:docMk/>
          <pc:sldMk cId="1009552261" sldId="2147482944"/>
        </pc:sldMkLst>
        <pc:spChg chg="mod">
          <ac:chgData name="Ledebur-Wicheln, Gregor" userId="43259724-beae-4305-9bef-fe1457efee71" providerId="ADAL" clId="{88664497-B812-4482-8717-6E4A3D6A3659}" dt="2025-07-06T15:55:24.097" v="4" actId="948"/>
          <ac:spMkLst>
            <pc:docMk/>
            <pc:sldMk cId="1009552261" sldId="2147482944"/>
            <ac:spMk id="2" creationId="{88D45A94-AA6D-4FB6-8C8A-55CF668DD6A0}"/>
          </ac:spMkLst>
        </pc:spChg>
        <pc:spChg chg="mod">
          <ac:chgData name="Ledebur-Wicheln, Gregor" userId="43259724-beae-4305-9bef-fe1457efee71" providerId="ADAL" clId="{88664497-B812-4482-8717-6E4A3D6A3659}" dt="2025-07-06T16:06:38.972" v="139"/>
          <ac:spMkLst>
            <pc:docMk/>
            <pc:sldMk cId="1009552261" sldId="2147482944"/>
            <ac:spMk id="14" creationId="{7C48A55F-0BC1-8EED-1775-72E52CC710D6}"/>
          </ac:spMkLst>
        </pc:spChg>
        <pc:spChg chg="mod">
          <ac:chgData name="Ledebur-Wicheln, Gregor" userId="43259724-beae-4305-9bef-fe1457efee71" providerId="ADAL" clId="{88664497-B812-4482-8717-6E4A3D6A3659}" dt="2025-07-06T16:05:19.244" v="135" actId="20577"/>
          <ac:spMkLst>
            <pc:docMk/>
            <pc:sldMk cId="1009552261" sldId="2147482944"/>
            <ac:spMk id="15" creationId="{BABD6579-2551-FA99-3D35-AF6D3C896F84}"/>
          </ac:spMkLst>
        </pc:spChg>
        <pc:spChg chg="mod">
          <ac:chgData name="Ledebur-Wicheln, Gregor" userId="43259724-beae-4305-9bef-fe1457efee71" providerId="ADAL" clId="{88664497-B812-4482-8717-6E4A3D6A3659}" dt="2025-07-06T16:08:34.683" v="177"/>
          <ac:spMkLst>
            <pc:docMk/>
            <pc:sldMk cId="1009552261" sldId="2147482944"/>
            <ac:spMk id="19" creationId="{364440B8-71C8-D390-24F6-A60EAE471C54}"/>
          </ac:spMkLst>
        </pc:spChg>
        <pc:graphicFrameChg chg="mod">
          <ac:chgData name="Ledebur-Wicheln, Gregor" userId="43259724-beae-4305-9bef-fe1457efee71" providerId="ADAL" clId="{88664497-B812-4482-8717-6E4A3D6A3659}" dt="2025-07-06T15:55:24.123" v="28"/>
          <ac:graphicFrameMkLst>
            <pc:docMk/>
            <pc:sldMk cId="1009552261" sldId="2147482944"/>
            <ac:graphicFrameMk id="21" creationId="{E63C457B-65CE-464D-B637-0EFCA58C4AB5}"/>
          </ac:graphicFrameMkLst>
        </pc:graphicFrameChg>
        <pc:picChg chg="add mod modCrop">
          <ac:chgData name="Ledebur-Wicheln, Gregor" userId="43259724-beae-4305-9bef-fe1457efee71" providerId="ADAL" clId="{88664497-B812-4482-8717-6E4A3D6A3659}" dt="2025-07-06T15:59:55.411" v="51" actId="14100"/>
          <ac:picMkLst>
            <pc:docMk/>
            <pc:sldMk cId="1009552261" sldId="2147482944"/>
            <ac:picMk id="8" creationId="{D1C2A192-5A83-9A49-241C-5FD47B56F195}"/>
          </ac:picMkLst>
        </pc:picChg>
        <pc:picChg chg="add mod modCrop">
          <ac:chgData name="Ledebur-Wicheln, Gregor" userId="43259724-beae-4305-9bef-fe1457efee71" providerId="ADAL" clId="{88664497-B812-4482-8717-6E4A3D6A3659}" dt="2025-07-06T16:08:58.277" v="180" actId="14100"/>
          <ac:picMkLst>
            <pc:docMk/>
            <pc:sldMk cId="1009552261" sldId="2147482944"/>
            <ac:picMk id="10" creationId="{31077477-9788-B6ED-B334-591A314DA230}"/>
          </ac:picMkLst>
        </pc:picChg>
        <pc:picChg chg="mod">
          <ac:chgData name="Ledebur-Wicheln, Gregor" userId="43259724-beae-4305-9bef-fe1457efee71" providerId="ADAL" clId="{88664497-B812-4482-8717-6E4A3D6A3659}" dt="2025-07-06T16:02:57.542" v="111"/>
          <ac:picMkLst>
            <pc:docMk/>
            <pc:sldMk cId="1009552261" sldId="2147482944"/>
            <ac:picMk id="11" creationId="{06B94267-AB83-40C4-8230-2D3D4FB9738F}"/>
          </ac:picMkLst>
        </pc:picChg>
      </pc:sldChg>
    </pc:docChg>
  </pc:docChgLst>
  <pc:docChgLst>
    <pc:chgData name="Ledebur-Wicheln, Gregor" userId="43259724-beae-4305-9bef-fe1457efee71" providerId="ADAL" clId="{09C4AC1F-DBA3-4DCC-BB62-610D50A1CF8F}"/>
    <pc:docChg chg="custSel modSld replTag">
      <pc:chgData name="Ledebur-Wicheln, Gregor" userId="43259724-beae-4305-9bef-fe1457efee71" providerId="ADAL" clId="{09C4AC1F-DBA3-4DCC-BB62-610D50A1CF8F}" dt="2024-04-22T11:19:24.386" v="76"/>
      <pc:docMkLst>
        <pc:docMk/>
      </pc:docMkLst>
      <pc:sldChg chg="addSp delSp modSp mod">
        <pc:chgData name="Ledebur-Wicheln, Gregor" userId="43259724-beae-4305-9bef-fe1457efee71" providerId="ADAL" clId="{09C4AC1F-DBA3-4DCC-BB62-610D50A1CF8F}" dt="2024-04-22T11:19:24.386" v="76"/>
        <pc:sldMkLst>
          <pc:docMk/>
          <pc:sldMk cId="2558103172" sldId="268"/>
        </pc:sldMkLst>
      </pc:sldChg>
    </pc:docChg>
  </pc:docChgLst>
  <pc:docChgLst>
    <pc:chgData name="Ledebur-Wicheln, Gregor" userId="43259724-beae-4305-9bef-fe1457efee71" providerId="ADAL" clId="{963BDCE1-D90D-4ABF-9569-05935EF3CAC6}"/>
    <pc:docChg chg="undo custSel modSld">
      <pc:chgData name="Ledebur-Wicheln, Gregor" userId="43259724-beae-4305-9bef-fe1457efee71" providerId="ADAL" clId="{963BDCE1-D90D-4ABF-9569-05935EF3CAC6}" dt="2025-07-15T16:55:12.933" v="204"/>
      <pc:docMkLst>
        <pc:docMk/>
      </pc:docMkLst>
      <pc:sldChg chg="addSp delSp modSp mod">
        <pc:chgData name="Ledebur-Wicheln, Gregor" userId="43259724-beae-4305-9bef-fe1457efee71" providerId="ADAL" clId="{963BDCE1-D90D-4ABF-9569-05935EF3CAC6}" dt="2025-07-15T16:55:12.933" v="204"/>
        <pc:sldMkLst>
          <pc:docMk/>
          <pc:sldMk cId="1009552261" sldId="2147482944"/>
        </pc:sldMkLst>
        <pc:spChg chg="add mod">
          <ac:chgData name="Ledebur-Wicheln, Gregor" userId="43259724-beae-4305-9bef-fe1457efee71" providerId="ADAL" clId="{963BDCE1-D90D-4ABF-9569-05935EF3CAC6}" dt="2025-07-15T16:54:19.036" v="111" actId="207"/>
          <ac:spMkLst>
            <pc:docMk/>
            <pc:sldMk cId="1009552261" sldId="2147482944"/>
            <ac:spMk id="7" creationId="{DF62C275-255B-2C4D-02CF-3D4975C8E005}"/>
          </ac:spMkLst>
        </pc:spChg>
        <pc:spChg chg="add mod">
          <ac:chgData name="Ledebur-Wicheln, Gregor" userId="43259724-beae-4305-9bef-fe1457efee71" providerId="ADAL" clId="{963BDCE1-D90D-4ABF-9569-05935EF3CAC6}" dt="2025-07-15T16:54:22.268" v="112" actId="207"/>
          <ac:spMkLst>
            <pc:docMk/>
            <pc:sldMk cId="1009552261" sldId="2147482944"/>
            <ac:spMk id="9" creationId="{2285B17A-0424-4059-8141-03AE0C512E42}"/>
          </ac:spMkLst>
        </pc:spChg>
        <pc:spChg chg="mod">
          <ac:chgData name="Ledebur-Wicheln, Gregor" userId="43259724-beae-4305-9bef-fe1457efee71" providerId="ADAL" clId="{963BDCE1-D90D-4ABF-9569-05935EF3CAC6}" dt="2025-07-15T16:55:07.915" v="202"/>
          <ac:spMkLst>
            <pc:docMk/>
            <pc:sldMk cId="1009552261" sldId="2147482944"/>
            <ac:spMk id="13" creationId="{6DDE0E02-07F7-4F41-169D-461D785AA800}"/>
          </ac:spMkLst>
        </pc:spChg>
        <pc:spChg chg="mod">
          <ac:chgData name="Ledebur-Wicheln, Gregor" userId="43259724-beae-4305-9bef-fe1457efee71" providerId="ADAL" clId="{963BDCE1-D90D-4ABF-9569-05935EF3CAC6}" dt="2025-07-15T16:55:10.622" v="203"/>
          <ac:spMkLst>
            <pc:docMk/>
            <pc:sldMk cId="1009552261" sldId="2147482944"/>
            <ac:spMk id="14" creationId="{7C48A55F-0BC1-8EED-1775-72E52CC710D6}"/>
          </ac:spMkLst>
        </pc:spChg>
        <pc:spChg chg="mod">
          <ac:chgData name="Ledebur-Wicheln, Gregor" userId="43259724-beae-4305-9bef-fe1457efee71" providerId="ADAL" clId="{963BDCE1-D90D-4ABF-9569-05935EF3CAC6}" dt="2025-07-15T16:55:12.933" v="204"/>
          <ac:spMkLst>
            <pc:docMk/>
            <pc:sldMk cId="1009552261" sldId="2147482944"/>
            <ac:spMk id="15" creationId="{BABD6579-2551-FA99-3D35-AF6D3C896F84}"/>
          </ac:spMkLst>
        </pc:spChg>
        <pc:spChg chg="add mod">
          <ac:chgData name="Ledebur-Wicheln, Gregor" userId="43259724-beae-4305-9bef-fe1457efee71" providerId="ADAL" clId="{963BDCE1-D90D-4ABF-9569-05935EF3CAC6}" dt="2025-07-15T16:54:25.718" v="113" actId="207"/>
          <ac:spMkLst>
            <pc:docMk/>
            <pc:sldMk cId="1009552261" sldId="2147482944"/>
            <ac:spMk id="17" creationId="{2442A61D-D631-87EF-304C-D354E49B51B2}"/>
          </ac:spMkLst>
        </pc:spChg>
        <pc:spChg chg="add mod">
          <ac:chgData name="Ledebur-Wicheln, Gregor" userId="43259724-beae-4305-9bef-fe1457efee71" providerId="ADAL" clId="{963BDCE1-D90D-4ABF-9569-05935EF3CAC6}" dt="2025-07-15T16:54:29.182" v="114" actId="207"/>
          <ac:spMkLst>
            <pc:docMk/>
            <pc:sldMk cId="1009552261" sldId="2147482944"/>
            <ac:spMk id="18" creationId="{34E04F50-5788-B8C9-372B-87B5158B6B91}"/>
          </ac:spMkLst>
        </pc:spChg>
        <pc:spChg chg="mod">
          <ac:chgData name="Ledebur-Wicheln, Gregor" userId="43259724-beae-4305-9bef-fe1457efee71" providerId="ADAL" clId="{963BDCE1-D90D-4ABF-9569-05935EF3CAC6}" dt="2025-07-15T16:55:02.759" v="201" actId="313"/>
          <ac:spMkLst>
            <pc:docMk/>
            <pc:sldMk cId="1009552261" sldId="2147482944"/>
            <ac:spMk id="19" creationId="{364440B8-71C8-D390-24F6-A60EAE471C54}"/>
          </ac:spMkLst>
        </pc:spChg>
        <pc:picChg chg="add del">
          <ac:chgData name="Ledebur-Wicheln, Gregor" userId="43259724-beae-4305-9bef-fe1457efee71" providerId="ADAL" clId="{963BDCE1-D90D-4ABF-9569-05935EF3CAC6}" dt="2025-07-15T16:50:17.586" v="8" actId="478"/>
          <ac:picMkLst>
            <pc:docMk/>
            <pc:sldMk cId="1009552261" sldId="2147482944"/>
            <ac:picMk id="8" creationId="{D1C2A192-5A83-9A49-241C-5FD47B56F195}"/>
          </ac:picMkLst>
        </pc:picChg>
        <pc:picChg chg="add del">
          <ac:chgData name="Ledebur-Wicheln, Gregor" userId="43259724-beae-4305-9bef-fe1457efee71" providerId="ADAL" clId="{963BDCE1-D90D-4ABF-9569-05935EF3CAC6}" dt="2025-07-15T16:50:14.764" v="6" actId="478"/>
          <ac:picMkLst>
            <pc:docMk/>
            <pc:sldMk cId="1009552261" sldId="2147482944"/>
            <ac:picMk id="10" creationId="{31077477-9788-B6ED-B334-591A314DA230}"/>
          </ac:picMkLst>
        </pc:picChg>
        <pc:picChg chg="add del">
          <ac:chgData name="Ledebur-Wicheln, Gregor" userId="43259724-beae-4305-9bef-fe1457efee71" providerId="ADAL" clId="{963BDCE1-D90D-4ABF-9569-05935EF3CAC6}" dt="2025-07-15T16:50:03.959" v="2" actId="478"/>
          <ac:picMkLst>
            <pc:docMk/>
            <pc:sldMk cId="1009552261" sldId="2147482944"/>
            <ac:picMk id="11" creationId="{06B94267-AB83-40C4-8230-2D3D4FB9738F}"/>
          </ac:picMkLst>
        </pc:picChg>
        <pc:picChg chg="del">
          <ac:chgData name="Ledebur-Wicheln, Gregor" userId="43259724-beae-4305-9bef-fe1457efee71" providerId="ADAL" clId="{963BDCE1-D90D-4ABF-9569-05935EF3CAC6}" dt="2025-07-15T16:49:58.657" v="0" actId="478"/>
          <ac:picMkLst>
            <pc:docMk/>
            <pc:sldMk cId="1009552261" sldId="2147482944"/>
            <ac:picMk id="16" creationId="{5C030DCC-46DD-E3DD-FCE0-5DA82F97648C}"/>
          </ac:picMkLst>
        </pc:picChg>
        <pc:picChg chg="add del">
          <ac:chgData name="Ledebur-Wicheln, Gregor" userId="43259724-beae-4305-9bef-fe1457efee71" providerId="ADAL" clId="{963BDCE1-D90D-4ABF-9569-05935EF3CAC6}" dt="2025-07-15T16:50:12.080" v="4" actId="478"/>
          <ac:picMkLst>
            <pc:docMk/>
            <pc:sldMk cId="1009552261" sldId="2147482944"/>
            <ac:picMk id="27" creationId="{599CFA46-EA2A-C7B4-BDA8-B75BFD27E846}"/>
          </ac:picMkLst>
        </pc:picChg>
      </pc:sldChg>
    </pc:docChg>
  </pc:docChgLst>
  <pc:docChgLst>
    <pc:chgData name="Ledebur-Wicheln, Gregor" userId="43259724-beae-4305-9bef-fe1457efee71" providerId="ADAL" clId="{849F0FFF-85CA-4293-953D-A1F471642A99}"/>
    <pc:docChg chg="addSld delSld modSld modSection">
      <pc:chgData name="Ledebur-Wicheln, Gregor" userId="43259724-beae-4305-9bef-fe1457efee71" providerId="ADAL" clId="{849F0FFF-85CA-4293-953D-A1F471642A99}" dt="2024-07-10T08:05:03.255" v="14" actId="20577"/>
      <pc:docMkLst>
        <pc:docMk/>
      </pc:docMkLst>
      <pc:sldChg chg="del">
        <pc:chgData name="Ledebur-Wicheln, Gregor" userId="43259724-beae-4305-9bef-fe1457efee71" providerId="ADAL" clId="{849F0FFF-85CA-4293-953D-A1F471642A99}" dt="2024-07-10T08:03:28.533" v="1" actId="47"/>
        <pc:sldMkLst>
          <pc:docMk/>
          <pc:sldMk cId="2558103172" sldId="268"/>
        </pc:sldMkLst>
      </pc:sldChg>
      <pc:sldChg chg="modSp add mod">
        <pc:chgData name="Ledebur-Wicheln, Gregor" userId="43259724-beae-4305-9bef-fe1457efee71" providerId="ADAL" clId="{849F0FFF-85CA-4293-953D-A1F471642A99}" dt="2024-07-10T08:05:03.255" v="14" actId="20577"/>
        <pc:sldMkLst>
          <pc:docMk/>
          <pc:sldMk cId="4136518184" sldId="344"/>
        </pc:sldMkLst>
      </pc:sldChg>
      <pc:sldMasterChg chg="delSldLayout">
        <pc:chgData name="Ledebur-Wicheln, Gregor" userId="43259724-beae-4305-9bef-fe1457efee71" providerId="ADAL" clId="{849F0FFF-85CA-4293-953D-A1F471642A99}" dt="2024-07-10T08:03:28.533" v="1" actId="47"/>
        <pc:sldMasterMkLst>
          <pc:docMk/>
          <pc:sldMasterMk cId="4052670754" sldId="2147483660"/>
        </pc:sldMasterMkLst>
        <pc:sldLayoutChg chg="del">
          <pc:chgData name="Ledebur-Wicheln, Gregor" userId="43259724-beae-4305-9bef-fe1457efee71" providerId="ADAL" clId="{849F0FFF-85CA-4293-953D-A1F471642A99}" dt="2024-07-10T08:03:28.533" v="1" actId="47"/>
          <pc:sldLayoutMkLst>
            <pc:docMk/>
            <pc:sldMasterMk cId="4052670754" sldId="2147483660"/>
            <pc:sldLayoutMk cId="2209742124" sldId="214748381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49CFBE-7E17-086E-64C7-ED9B7BD888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F75C9E-0959-3262-2D31-8FA70CEE36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DE34F5-9CFC-4E10-B02B-094754DFA6CA}" type="datetimeFigureOut">
              <a:rPr lang="en-US" smtClean="0"/>
              <a:t>7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D093CF-6672-544A-927F-CD49E75431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088984-8CB4-C861-E9FE-78BA80C0C0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9B887D-C3CE-4148-A83F-18E15CF815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5056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391B4-A7B8-4DA7-BE79-A26093C71E92}" type="datetimeFigureOut">
              <a:rPr lang="en-US" smtClean="0"/>
              <a:t>7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2782-2960-41E3-A120-70E9B22BE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0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B2782-2960-41E3-A120-70E9B22BE60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46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155.xml"/><Relationship Id="rId16" Type="http://schemas.openxmlformats.org/officeDocument/2006/relationships/image" Target="../media/image2.emf"/><Relationship Id="rId1" Type="http://schemas.openxmlformats.org/officeDocument/2006/relationships/tags" Target="../tags/tag154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65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7.xml"/><Relationship Id="rId7" Type="http://schemas.openxmlformats.org/officeDocument/2006/relationships/slideMaster" Target="../slideMasters/slideMaster10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4" Type="http://schemas.openxmlformats.org/officeDocument/2006/relationships/tags" Target="../tags/tag16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75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7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25.xml"/><Relationship Id="rId16" Type="http://schemas.openxmlformats.org/officeDocument/2006/relationships/image" Target="../media/image2.emf"/><Relationship Id="rId1" Type="http://schemas.openxmlformats.org/officeDocument/2006/relationships/tags" Target="../tags/tag24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49.xml"/><Relationship Id="rId16" Type="http://schemas.openxmlformats.org/officeDocument/2006/relationships/image" Target="../media/image2.emf"/><Relationship Id="rId1" Type="http://schemas.openxmlformats.org/officeDocument/2006/relationships/tags" Target="../tags/tag48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24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73.xml"/><Relationship Id="rId16" Type="http://schemas.openxmlformats.org/officeDocument/2006/relationships/image" Target="../media/image2.emf"/><Relationship Id="rId1" Type="http://schemas.openxmlformats.org/officeDocument/2006/relationships/tags" Target="../tags/tag72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34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10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4" Type="http://schemas.openxmlformats.org/officeDocument/2006/relationships/image" Target="../media/image1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0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5.xml"/><Relationship Id="rId4" Type="http://schemas.openxmlformats.org/officeDocument/2006/relationships/image" Target="../media/image1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0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6.xml"/><Relationship Id="rId4" Type="http://schemas.openxmlformats.org/officeDocument/2006/relationships/image" Target="../media/image12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130.xml"/><Relationship Id="rId16" Type="http://schemas.openxmlformats.org/officeDocument/2006/relationships/image" Target="../media/image2.emf"/><Relationship Id="rId1" Type="http://schemas.openxmlformats.org/officeDocument/2006/relationships/tags" Target="../tags/tag129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52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31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493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4520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6189042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560527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524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0924185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1966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824846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17544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51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587700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753745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203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88527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6700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9122455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4355720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55986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34949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57541860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5164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305709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3722179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128133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186337203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16758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84081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  <a:endParaRPr lang="de-DE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7029410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7182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256025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7355539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3172289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242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87866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011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3502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928839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50946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742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91709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1430679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026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741387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688136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096041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0968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41908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98904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5167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670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77151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2795268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3029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82609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786300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581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281490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72876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011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871650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506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341768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13893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2941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4423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2445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20097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1888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085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1390658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6025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9029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71325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72688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70687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1549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900142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3724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38191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7853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51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11747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3220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5567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9911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283824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5974263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9574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51483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800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933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840545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45114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19172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4345196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8781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0244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 or client name here</a:t>
            </a:r>
          </a:p>
        </p:txBody>
      </p:sp>
      <p:pic>
        <p:nvPicPr>
          <p:cNvPr id="11" name="Picture 10" descr="Red1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3443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5033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992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6495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07554458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6639296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326400" y="1700784"/>
            <a:ext cx="11520811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 we have been trusted advisors to the world’s foremost organizations. A.T. Kearney is a partner-owned firm, committed to helping clients achieve immediate impact and growing advantage on their most mission-critical issues.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ore information, visi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C070137-1999-42B2-A92D-B4C76F5131BF}"/>
              </a:ext>
            </a:extLst>
          </p:cNvPr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6520375"/>
              </p:ext>
            </p:extLst>
          </p:nvPr>
        </p:nvGraphicFramePr>
        <p:xfrm>
          <a:off x="326400" y="2895600"/>
          <a:ext cx="115208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0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0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Calgary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Houston</a:t>
                      </a:r>
                      <a:endParaRPr lang="en-US" sz="900" b="1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Washington,</a:t>
                      </a:r>
                      <a:r>
                        <a:rPr lang="en-US" sz="700">
                          <a:latin typeface="+mn-lt"/>
                        </a:rPr>
                        <a:t> </a:t>
                      </a:r>
                      <a:r>
                        <a:rPr lang="en-US" sz="900">
                          <a:latin typeface="+mn-lt"/>
                        </a:rPr>
                        <a:t>D.C.</a:t>
                      </a:r>
                      <a:endParaRPr lang="en-US" sz="90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al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ijin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risba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Jakart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Mumb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New Delh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eo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Shangh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Sydney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Tokyo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>
                          <a:latin typeface="Arial"/>
                        </a:rPr>
                        <a:t>Europe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Brussel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Buchar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Düsseldorf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isb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London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oscow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Osl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aris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Vienn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+mn-lt"/>
                        </a:rPr>
                        <a:t>Zurich</a:t>
                      </a:r>
                      <a:endParaRPr lang="en-US" sz="90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>
                          <a:latin typeface="Arial"/>
                        </a:rPr>
                        <a:t>Middle East </a:t>
                      </a:r>
                      <a:br>
                        <a:rPr lang="en-US" sz="900" b="1">
                          <a:latin typeface="Arial"/>
                        </a:rPr>
                      </a:br>
                      <a:r>
                        <a:rPr lang="en-US" sz="900" b="1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Duba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latin typeface="+mn-lt"/>
                        </a:rPr>
                        <a:t>Johannesburg</a:t>
                      </a:r>
                    </a:p>
                    <a:p>
                      <a:r>
                        <a:rPr lang="en-US" sz="900">
                          <a:latin typeface="Arial"/>
                        </a:rPr>
                        <a:t>Riyadh</a:t>
                      </a:r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494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E02E008-19F5-415F-ADD4-3FC0EF4C3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E02E008-19F5-415F-ADD4-3FC0EF4C3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78063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81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vert="horz"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fr-FR" err="1"/>
              <a:t>What</a:t>
            </a:r>
            <a:r>
              <a:rPr lang="fr-FR"/>
              <a:t> ar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here</a:t>
            </a:r>
            <a:r>
              <a:rPr lang="fr-FR"/>
              <a:t>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say</a:t>
            </a:r>
            <a:r>
              <a:rPr lang="fr-FR"/>
              <a:t>? Set the </a:t>
            </a:r>
            <a:r>
              <a:rPr lang="fr-FR" err="1"/>
              <a:t>tone</a:t>
            </a:r>
            <a:r>
              <a:rPr lang="fr-FR"/>
              <a:t>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supporting</a:t>
            </a:r>
            <a:r>
              <a:rPr lang="fr-FR"/>
              <a:t> </a:t>
            </a:r>
            <a:r>
              <a:rPr lang="fr-FR" err="1"/>
              <a:t>detail</a:t>
            </a:r>
            <a:endParaRPr lang="fr-FR"/>
          </a:p>
          <a:p>
            <a:pPr lvl="1"/>
            <a:r>
              <a:rPr lang="fr-FR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75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2834610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heading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2435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562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Set the </a:t>
            </a:r>
            <a:r>
              <a:rPr lang="fr-FR" err="1"/>
              <a:t>scene</a:t>
            </a:r>
            <a:r>
              <a:rPr lang="fr-FR"/>
              <a:t>.</a:t>
            </a:r>
            <a:br>
              <a:rPr lang="fr-FR"/>
            </a:br>
            <a:r>
              <a:rPr lang="fr-FR"/>
              <a:t>Cover the </a:t>
            </a:r>
            <a:r>
              <a:rPr lang="fr-FR" err="1"/>
              <a:t>context</a:t>
            </a:r>
            <a:r>
              <a:rPr lang="fr-FR"/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4811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37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Make </a:t>
            </a:r>
            <a:r>
              <a:rPr lang="fr-FR" err="1"/>
              <a:t>your</a:t>
            </a:r>
            <a:r>
              <a:rPr lang="fr-FR"/>
              <a:t> case.</a:t>
            </a:r>
            <a:br>
              <a:rPr lang="fr-FR"/>
            </a:br>
            <a:r>
              <a:rPr lang="fr-FR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1684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The ‘</a:t>
            </a:r>
            <a:r>
              <a:rPr lang="fr-FR" err="1"/>
              <a:t>so</a:t>
            </a:r>
            <a:r>
              <a:rPr lang="fr-FR"/>
              <a:t> </a:t>
            </a:r>
            <a:r>
              <a:rPr lang="fr-FR" err="1"/>
              <a:t>what</a:t>
            </a:r>
            <a:r>
              <a:rPr lang="fr-FR"/>
              <a:t>?’.</a:t>
            </a:r>
            <a:br>
              <a:rPr lang="fr-FR"/>
            </a:br>
            <a:r>
              <a:rPr lang="fr-FR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5977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241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85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fr-FR"/>
              <a:t>For </a:t>
            </a:r>
            <a:r>
              <a:rPr lang="fr-FR" err="1"/>
              <a:t>further</a:t>
            </a:r>
            <a:r>
              <a:rPr lang="fr-FR"/>
              <a:t> </a:t>
            </a:r>
            <a:r>
              <a:rPr lang="fr-FR" err="1"/>
              <a:t>reading</a:t>
            </a:r>
            <a:r>
              <a:rPr lang="fr-FR"/>
              <a:t>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0020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08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 vert="horz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fr-FR" b="1" err="1">
                <a:effectLst/>
                <a:latin typeface="Arial" panose="020B0604020202020204" pitchFamily="34" charset="0"/>
              </a:rPr>
              <a:t>Add</a:t>
            </a:r>
            <a:r>
              <a:rPr lang="fr-FR" b="1">
                <a:effectLst/>
                <a:latin typeface="Arial" panose="020B0604020202020204" pitchFamily="34" charset="0"/>
              </a:rPr>
              <a:t> an </a:t>
            </a:r>
            <a:r>
              <a:rPr lang="fr-FR" b="1" err="1">
                <a:effectLst/>
                <a:latin typeface="Arial" panose="020B0604020202020204" pitchFamily="34" charset="0"/>
              </a:rPr>
              <a:t>optional</a:t>
            </a:r>
            <a:r>
              <a:rPr lang="fr-FR" b="1">
                <a:effectLst/>
                <a:latin typeface="Arial" panose="020B0604020202020204" pitchFamily="34" charset="0"/>
              </a:rPr>
              <a:t> </a:t>
            </a:r>
            <a:r>
              <a:rPr lang="fr-FR" b="1" err="1">
                <a:effectLst/>
                <a:latin typeface="Arial" panose="020B0604020202020204" pitchFamily="34" charset="0"/>
              </a:rPr>
              <a:t>sub-chapter</a:t>
            </a:r>
            <a:r>
              <a:rPr lang="fr-FR" b="1">
                <a:effectLst/>
                <a:latin typeface="Arial" panose="020B0604020202020204" pitchFamily="34" charset="0"/>
              </a:rPr>
              <a:t> </a:t>
            </a:r>
            <a:r>
              <a:rPr lang="fr-FR" b="1" err="1">
                <a:effectLst/>
                <a:latin typeface="Arial" panose="020B0604020202020204" pitchFamily="34" charset="0"/>
              </a:rPr>
              <a:t>that</a:t>
            </a:r>
            <a:r>
              <a:rPr lang="fr-FR" b="1">
                <a:effectLst/>
                <a:latin typeface="Arial" panose="020B0604020202020204" pitchFamily="34" charset="0"/>
              </a:rPr>
              <a:t> supports the narrative</a:t>
            </a:r>
            <a:endParaRPr lang="fr-FR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868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55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89827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04503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2400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Heading</a:t>
            </a:r>
            <a:r>
              <a:rPr lang="fr-FR"/>
              <a:t>: Make </a:t>
            </a:r>
            <a:r>
              <a:rPr lang="fr-FR" err="1"/>
              <a:t>your</a:t>
            </a:r>
            <a:r>
              <a:rPr lang="fr-FR"/>
              <a:t>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Heading</a:t>
            </a:r>
            <a:r>
              <a:rPr lang="fr-FR"/>
              <a:t>: Make </a:t>
            </a:r>
            <a:r>
              <a:rPr lang="fr-FR" err="1"/>
              <a:t>your</a:t>
            </a:r>
            <a:r>
              <a:rPr lang="fr-FR"/>
              <a:t> point.</a:t>
            </a:r>
          </a:p>
        </p:txBody>
      </p:sp>
    </p:spTree>
    <p:extLst>
      <p:ext uri="{BB962C8B-B14F-4D97-AF65-F5344CB8AC3E}">
        <p14:creationId xmlns:p14="http://schemas.microsoft.com/office/powerpoint/2010/main" val="3503119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607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 err="1"/>
              <a:t>Surname</a:t>
            </a:r>
            <a:r>
              <a:rPr lang="fr-FR"/>
              <a:t> Name</a:t>
            </a:r>
            <a:br>
              <a:rPr lang="fr-FR"/>
            </a:br>
            <a:r>
              <a:rPr lang="fr-FR" b="0"/>
              <a:t>Position, Office, Country</a:t>
            </a:r>
            <a:endParaRPr lang="fr-FR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fr-FR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fr-FR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7187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98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fr-FR"/>
              <a:t>Name and </a:t>
            </a:r>
            <a:r>
              <a:rPr lang="fr-FR" err="1"/>
              <a:t>Surname</a:t>
            </a:r>
            <a:endParaRPr lang="fr-FR"/>
          </a:p>
          <a:p>
            <a:pPr lvl="1"/>
            <a:r>
              <a:rPr lang="fr-FR"/>
              <a:t>Job </a:t>
            </a:r>
            <a:r>
              <a:rPr lang="fr-FR" err="1"/>
              <a:t>title</a:t>
            </a:r>
            <a:r>
              <a:rPr lang="fr-FR"/>
              <a:t> and location 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Summary</a:t>
            </a:r>
            <a:r>
              <a:rPr lang="fr-FR"/>
              <a:t> of </a:t>
            </a:r>
            <a:r>
              <a:rPr lang="fr-FR" err="1"/>
              <a:t>experience</a:t>
            </a:r>
            <a:r>
              <a:rPr lang="fr-FR"/>
              <a:t> </a:t>
            </a:r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/>
              <a:t>Second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  <a:p>
            <a:pPr lvl="4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r>
              <a:rPr lang="fr-FR"/>
              <a:t> </a:t>
            </a:r>
            <a:r>
              <a:rPr lang="fr-FR" err="1"/>
              <a:t>bullet</a:t>
            </a:r>
            <a:endParaRPr lang="fr-FR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 vert="horz"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</p:spTree>
    <p:extLst>
      <p:ext uri="{BB962C8B-B14F-4D97-AF65-F5344CB8AC3E}">
        <p14:creationId xmlns:p14="http://schemas.microsoft.com/office/powerpoint/2010/main" val="2212975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Key message. </a:t>
            </a:r>
            <a:br>
              <a:rPr lang="fr-FR"/>
            </a:br>
            <a:r>
              <a:rPr lang="fr-FR"/>
              <a:t>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 err="1"/>
              <a:t>Approach</a:t>
            </a:r>
            <a:endParaRPr lang="fr-FR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fr-FR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277273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text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4837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93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vert="horz"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fr-FR"/>
              <a:t>Key message. If the audience </a:t>
            </a:r>
            <a:r>
              <a:rPr lang="fr-FR" err="1"/>
              <a:t>reads</a:t>
            </a:r>
            <a:r>
              <a:rPr lang="fr-FR"/>
              <a:t> </a:t>
            </a:r>
            <a:r>
              <a:rPr lang="fr-FR" err="1"/>
              <a:t>just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, </a:t>
            </a:r>
            <a:r>
              <a:rPr lang="fr-FR" err="1"/>
              <a:t>it</a:t>
            </a:r>
            <a:r>
              <a:rPr lang="fr-FR"/>
              <a:t> </a:t>
            </a:r>
            <a:r>
              <a:rPr lang="fr-FR" err="1"/>
              <a:t>will</a:t>
            </a:r>
            <a:r>
              <a:rPr lang="fr-FR"/>
              <a:t> </a:t>
            </a:r>
            <a:r>
              <a:rPr lang="fr-FR" err="1"/>
              <a:t>be</a:t>
            </a:r>
            <a:r>
              <a:rPr lang="fr-FR"/>
              <a:t> </a:t>
            </a:r>
            <a:r>
              <a:rPr lang="fr-FR" err="1"/>
              <a:t>enough</a:t>
            </a:r>
            <a:r>
              <a:rPr lang="fr-FR"/>
              <a:t>. Make </a:t>
            </a:r>
            <a:r>
              <a:rPr lang="fr-FR" err="1"/>
              <a:t>every</a:t>
            </a:r>
            <a:r>
              <a:rPr lang="fr-FR"/>
              <a:t> </a:t>
            </a:r>
            <a:r>
              <a:rPr lang="fr-FR" err="1"/>
              <a:t>word</a:t>
            </a:r>
            <a:r>
              <a:rPr lang="fr-FR"/>
              <a:t> count. Say </a:t>
            </a:r>
            <a:r>
              <a:rPr lang="fr-FR" err="1"/>
              <a:t>it</a:t>
            </a:r>
            <a:r>
              <a:rPr lang="fr-FR"/>
              <a:t> like </a:t>
            </a:r>
            <a:r>
              <a:rPr lang="fr-FR" err="1"/>
              <a:t>you</a:t>
            </a:r>
            <a:r>
              <a:rPr lang="fr-FR"/>
              <a:t> </a:t>
            </a:r>
            <a:r>
              <a:rPr lang="fr-FR" err="1"/>
              <a:t>would</a:t>
            </a:r>
            <a:r>
              <a:rPr lang="fr-FR"/>
              <a:t>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696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18501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clusively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nd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lien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ployee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istribution,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otation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duplications –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e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the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ract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for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r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arties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ly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mitt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ritte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e text and charts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ile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port in a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y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not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resent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te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cumentation of the 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fr-FR"/>
              <a:t>Name</a:t>
            </a:r>
          </a:p>
          <a:p>
            <a:pPr lvl="1"/>
            <a:r>
              <a:rPr lang="fr-FR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2000" b="1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</a:t>
            </a:r>
            <a:r>
              <a:rPr lang="fr-FR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fr-FR" sz="2000" b="1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you</a:t>
            </a:r>
            <a:endParaRPr lang="fr-FR" sz="2000" b="1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033116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FFA4F3-B474-4899-9114-029F58832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483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FFA4F3-B474-4899-9114-029F58832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FA27B6F-4067-B84B-95FB-6D9806B1AB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17300" cy="3426135"/>
          </a:xfrm>
        </p:spPr>
        <p:txBody>
          <a:bodyPr/>
          <a:lstStyle>
            <a:lvl1pPr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 sz="4800"/>
            </a:lvl1pPr>
          </a:lstStyle>
          <a:p>
            <a:r>
              <a:rPr lang="fr-FR" err="1"/>
              <a:t>Overview</a:t>
            </a:r>
            <a:br>
              <a:rPr lang="fr-FR"/>
            </a:br>
            <a:r>
              <a:rPr lang="fr-FR"/>
              <a:t>Insight</a:t>
            </a:r>
            <a:br>
              <a:rPr lang="fr-FR"/>
            </a:br>
            <a:r>
              <a:rPr lang="fr-FR"/>
              <a:t>Conclusion</a:t>
            </a:r>
            <a:br>
              <a:rPr lang="fr-FR"/>
            </a:br>
            <a:r>
              <a:rPr lang="fr-FR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1068384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041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2389333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618221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0869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83740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7171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04519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2452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20.xml"/><Relationship Id="rId10" Type="http://schemas.openxmlformats.org/officeDocument/2006/relationships/oleObject" Target="../embeddings/oleObject67.bin"/><Relationship Id="rId4" Type="http://schemas.openxmlformats.org/officeDocument/2006/relationships/slideLayout" Target="../slideLayouts/slideLayout119.xml"/><Relationship Id="rId9" Type="http://schemas.openxmlformats.org/officeDocument/2006/relationships/tags" Target="../tags/tag16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27.xml"/><Relationship Id="rId10" Type="http://schemas.openxmlformats.org/officeDocument/2006/relationships/oleObject" Target="../embeddings/oleObject68.bin"/><Relationship Id="rId4" Type="http://schemas.openxmlformats.org/officeDocument/2006/relationships/slideLayout" Target="../slideLayouts/slideLayout126.xml"/><Relationship Id="rId9" Type="http://schemas.openxmlformats.org/officeDocument/2006/relationships/tags" Target="../tags/tag17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21" Type="http://schemas.openxmlformats.org/officeDocument/2006/relationships/oleObject" Target="../embeddings/oleObject13.bin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26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8.xml"/><Relationship Id="rId21" Type="http://schemas.openxmlformats.org/officeDocument/2006/relationships/oleObject" Target="../embeddings/oleObject25.bin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oleObject" Target="../embeddings/oleObject35.bin"/><Relationship Id="rId5" Type="http://schemas.openxmlformats.org/officeDocument/2006/relationships/slideLayout" Target="../slideLayouts/slideLayout57.xml"/><Relationship Id="rId10" Type="http://schemas.openxmlformats.org/officeDocument/2006/relationships/tags" Target="../tags/tag75.xml"/><Relationship Id="rId4" Type="http://schemas.openxmlformats.org/officeDocument/2006/relationships/slideLayout" Target="../slideLayouts/slideLayout56.xml"/><Relationship Id="rId9" Type="http://schemas.openxmlformats.org/officeDocument/2006/relationships/tags" Target="../tags/tag7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oleObject" Target="../embeddings/oleObject37.bin"/><Relationship Id="rId5" Type="http://schemas.openxmlformats.org/officeDocument/2006/relationships/slideLayout" Target="../slideLayouts/slideLayout64.xml"/><Relationship Id="rId10" Type="http://schemas.openxmlformats.org/officeDocument/2006/relationships/tags" Target="../tags/tag86.xml"/><Relationship Id="rId4" Type="http://schemas.openxmlformats.org/officeDocument/2006/relationships/slideLayout" Target="../slideLayouts/slideLayout63.xml"/><Relationship Id="rId9" Type="http://schemas.openxmlformats.org/officeDocument/2006/relationships/tags" Target="../tags/tag8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oleObject" Target="../embeddings/oleObject39.bin"/><Relationship Id="rId5" Type="http://schemas.openxmlformats.org/officeDocument/2006/relationships/slideLayout" Target="../slideLayouts/slideLayout71.xml"/><Relationship Id="rId10" Type="http://schemas.openxmlformats.org/officeDocument/2006/relationships/tags" Target="../tags/tag97.xml"/><Relationship Id="rId4" Type="http://schemas.openxmlformats.org/officeDocument/2006/relationships/slideLayout" Target="../slideLayouts/slideLayout70.xml"/><Relationship Id="rId9" Type="http://schemas.openxmlformats.org/officeDocument/2006/relationships/tags" Target="../tags/tag9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tags" Target="../tags/tag108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tags" Target="../tags/tag107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3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oleObject" Target="../embeddings/oleObject41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94.xml"/><Relationship Id="rId21" Type="http://schemas.openxmlformats.org/officeDocument/2006/relationships/oleObject" Target="../embeddings/oleObject54.bin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tags" Target="../tags/tag13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1.xml"/><Relationship Id="rId19" Type="http://schemas.openxmlformats.org/officeDocument/2006/relationships/tags" Target="../tags/tag132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13.xml"/><Relationship Id="rId10" Type="http://schemas.openxmlformats.org/officeDocument/2006/relationships/oleObject" Target="../embeddings/oleObject66.bin"/><Relationship Id="rId4" Type="http://schemas.openxmlformats.org/officeDocument/2006/relationships/slideLayout" Target="../slideLayouts/slideLayout112.xml"/><Relationship Id="rId9" Type="http://schemas.openxmlformats.org/officeDocument/2006/relationships/tags" Target="../tags/tag1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670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5" r:id="rId12"/>
    <p:sldLayoutId id="2147483682" r:id="rId13"/>
    <p:sldLayoutId id="2147483677" r:id="rId14"/>
    <p:sldLayoutId id="2147483683" r:id="rId15"/>
    <p:sldLayoutId id="2147483681" r:id="rId16"/>
    <p:sldLayoutId id="2147483680" r:id="rId17"/>
    <p:sldLayoutId id="2147483720" r:id="rId18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B4B4B4"/>
          </p15:clr>
        </p15:guide>
        <p15:guide id="2" orient="horz" pos="480" userDrawn="1">
          <p15:clr>
            <a:srgbClr val="B4B4B4"/>
          </p15:clr>
        </p15:guide>
        <p15:guide id="3" orient="horz" pos="720" userDrawn="1">
          <p15:clr>
            <a:srgbClr val="B4B4B4"/>
          </p15:clr>
        </p15:guide>
        <p15:guide id="4" orient="horz" pos="960" userDrawn="1">
          <p15:clr>
            <a:srgbClr val="B4B4B4"/>
          </p15:clr>
        </p15:guide>
        <p15:guide id="5" orient="horz" pos="1200" userDrawn="1">
          <p15:clr>
            <a:srgbClr val="B4B4B4"/>
          </p15:clr>
        </p15:guide>
        <p15:guide id="6" orient="horz" pos="1440" userDrawn="1">
          <p15:clr>
            <a:srgbClr val="B4B4B4"/>
          </p15:clr>
        </p15:guide>
        <p15:guide id="7" orient="horz" pos="1680" userDrawn="1">
          <p15:clr>
            <a:srgbClr val="B4B4B4"/>
          </p15:clr>
        </p15:guide>
        <p15:guide id="8" orient="horz" pos="1920" userDrawn="1">
          <p15:clr>
            <a:srgbClr val="B4B4B4"/>
          </p15:clr>
        </p15:guide>
        <p15:guide id="9" orient="horz" pos="2160" userDrawn="1">
          <p15:clr>
            <a:srgbClr val="B4B4B4"/>
          </p15:clr>
        </p15:guide>
        <p15:guide id="10" orient="horz" pos="2400" userDrawn="1">
          <p15:clr>
            <a:srgbClr val="B4B4B4"/>
          </p15:clr>
        </p15:guide>
        <p15:guide id="11" orient="horz" pos="2640" userDrawn="1">
          <p15:clr>
            <a:srgbClr val="B4B4B4"/>
          </p15:clr>
        </p15:guide>
        <p15:guide id="12" orient="horz" pos="2880" userDrawn="1">
          <p15:clr>
            <a:srgbClr val="B4B4B4"/>
          </p15:clr>
        </p15:guide>
        <p15:guide id="13" orient="horz" pos="3120" userDrawn="1">
          <p15:clr>
            <a:srgbClr val="B4B4B4"/>
          </p15:clr>
        </p15:guide>
        <p15:guide id="14" orient="horz" pos="3360" userDrawn="1">
          <p15:clr>
            <a:srgbClr val="B4B4B4"/>
          </p15:clr>
        </p15:guide>
        <p15:guide id="15" orient="horz" pos="3600" userDrawn="1">
          <p15:clr>
            <a:srgbClr val="B4B4B4"/>
          </p15:clr>
        </p15:guide>
        <p15:guide id="16" orient="horz" pos="3840" userDrawn="1">
          <p15:clr>
            <a:srgbClr val="B4B4B4"/>
          </p15:clr>
        </p15:guide>
        <p15:guide id="17" orient="horz" pos="4080" userDrawn="1">
          <p15:clr>
            <a:srgbClr val="B4B4B4"/>
          </p15:clr>
        </p15:guide>
        <p15:guide id="18" orient="horz" pos="4320" userDrawn="1">
          <p15:clr>
            <a:srgbClr val="B4B4B4"/>
          </p15:clr>
        </p15:guide>
        <p15:guide id="19" pos="240" userDrawn="1">
          <p15:clr>
            <a:srgbClr val="B4B4B4"/>
          </p15:clr>
        </p15:guide>
        <p15:guide id="20" pos="480" userDrawn="1">
          <p15:clr>
            <a:srgbClr val="B4B4B4"/>
          </p15:clr>
        </p15:guide>
        <p15:guide id="21" pos="720" userDrawn="1">
          <p15:clr>
            <a:srgbClr val="B4B4B4"/>
          </p15:clr>
        </p15:guide>
        <p15:guide id="22" pos="960" userDrawn="1">
          <p15:clr>
            <a:srgbClr val="B4B4B4"/>
          </p15:clr>
        </p15:guide>
        <p15:guide id="23" pos="1200" userDrawn="1">
          <p15:clr>
            <a:srgbClr val="B4B4B4"/>
          </p15:clr>
        </p15:guide>
        <p15:guide id="24" pos="1440" userDrawn="1">
          <p15:clr>
            <a:srgbClr val="B4B4B4"/>
          </p15:clr>
        </p15:guide>
        <p15:guide id="25" pos="1680" userDrawn="1">
          <p15:clr>
            <a:srgbClr val="B4B4B4"/>
          </p15:clr>
        </p15:guide>
        <p15:guide id="26" pos="1920" userDrawn="1">
          <p15:clr>
            <a:srgbClr val="B4B4B4"/>
          </p15:clr>
        </p15:guide>
        <p15:guide id="27" pos="2160" userDrawn="1">
          <p15:clr>
            <a:srgbClr val="B4B4B4"/>
          </p15:clr>
        </p15:guide>
        <p15:guide id="28" pos="2400" userDrawn="1">
          <p15:clr>
            <a:srgbClr val="B4B4B4"/>
          </p15:clr>
        </p15:guide>
        <p15:guide id="29" pos="2640" userDrawn="1">
          <p15:clr>
            <a:srgbClr val="B4B4B4"/>
          </p15:clr>
        </p15:guide>
        <p15:guide id="30" pos="2880" userDrawn="1">
          <p15:clr>
            <a:srgbClr val="B4B4B4"/>
          </p15:clr>
        </p15:guide>
        <p15:guide id="31" pos="3120" userDrawn="1">
          <p15:clr>
            <a:srgbClr val="B4B4B4"/>
          </p15:clr>
        </p15:guide>
        <p15:guide id="32" pos="3360" userDrawn="1">
          <p15:clr>
            <a:srgbClr val="B4B4B4"/>
          </p15:clr>
        </p15:guide>
        <p15:guide id="33" pos="3600" userDrawn="1">
          <p15:clr>
            <a:srgbClr val="B4B4B4"/>
          </p15:clr>
        </p15:guide>
        <p15:guide id="34" pos="3840" userDrawn="1">
          <p15:clr>
            <a:srgbClr val="B4B4B4"/>
          </p15:clr>
        </p15:guide>
        <p15:guide id="35" pos="4080" userDrawn="1">
          <p15:clr>
            <a:srgbClr val="B4B4B4"/>
          </p15:clr>
        </p15:guide>
        <p15:guide id="36" pos="4320" userDrawn="1">
          <p15:clr>
            <a:srgbClr val="B4B4B4"/>
          </p15:clr>
        </p15:guide>
        <p15:guide id="37" pos="4560" userDrawn="1">
          <p15:clr>
            <a:srgbClr val="B4B4B4"/>
          </p15:clr>
        </p15:guide>
        <p15:guide id="38" pos="4800" userDrawn="1">
          <p15:clr>
            <a:srgbClr val="B4B4B4"/>
          </p15:clr>
        </p15:guide>
        <p15:guide id="39" pos="5040" userDrawn="1">
          <p15:clr>
            <a:srgbClr val="B4B4B4"/>
          </p15:clr>
        </p15:guide>
        <p15:guide id="40" pos="5280" userDrawn="1">
          <p15:clr>
            <a:srgbClr val="B4B4B4"/>
          </p15:clr>
        </p15:guide>
        <p15:guide id="41" pos="5520" userDrawn="1">
          <p15:clr>
            <a:srgbClr val="B4B4B4"/>
          </p15:clr>
        </p15:guide>
        <p15:guide id="42" pos="5760" userDrawn="1">
          <p15:clr>
            <a:srgbClr val="B4B4B4"/>
          </p15:clr>
        </p15:guide>
        <p15:guide id="43" pos="6000" userDrawn="1">
          <p15:clr>
            <a:srgbClr val="B4B4B4"/>
          </p15:clr>
        </p15:guide>
        <p15:guide id="44" pos="6240" userDrawn="1">
          <p15:clr>
            <a:srgbClr val="B4B4B4"/>
          </p15:clr>
        </p15:guide>
        <p15:guide id="45" pos="6480" userDrawn="1">
          <p15:clr>
            <a:srgbClr val="B4B4B4"/>
          </p15:clr>
        </p15:guide>
        <p15:guide id="46" pos="6720" userDrawn="1">
          <p15:clr>
            <a:srgbClr val="B4B4B4"/>
          </p15:clr>
        </p15:guide>
        <p15:guide id="47" pos="6960" userDrawn="1">
          <p15:clr>
            <a:srgbClr val="B4B4B4"/>
          </p15:clr>
        </p15:guide>
        <p15:guide id="48" pos="7200" userDrawn="1">
          <p15:clr>
            <a:srgbClr val="B4B4B4"/>
          </p15:clr>
        </p15:guide>
        <p15:guide id="49" pos="7440" userDrawn="1">
          <p15:clr>
            <a:srgbClr val="B4B4B4"/>
          </p15:clr>
        </p15:guide>
        <p15:guide id="50" pos="7680" userDrawn="1">
          <p15:clr>
            <a:srgbClr val="B4B4B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4733468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294281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0489616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742281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2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10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rZ4YOsQkmkQ0Hmnzk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493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6041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588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942137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11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985103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E943656-15F5-4DF9-BDF2-159C935EC73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900"/>
              </a:spcBef>
            </a:pPr>
            <a:endParaRPr lang="en-US" sz="2400" b="0" i="0" baseline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13" name="Picture 12" descr="White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400"/>
            <a:ext cx="121920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5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51218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fr-FR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r-FR"/>
              <a:t>Key message.</a:t>
            </a:r>
            <a:r>
              <a:t> </a:t>
            </a:r>
            <a:br>
              <a:rPr lang="fr-FR"/>
            </a:br>
            <a:r>
              <a:rPr lang="fr-FR"/>
              <a:t>Yew the goes down for hearing </a:t>
            </a:r>
            <a:r>
              <a:rPr lang="fr-FR" err="1"/>
              <a:t>reads just this</a:t>
            </a:r>
            <a:r>
              <a:rPr lang="fr-FR"/>
              <a:t>, </a:t>
            </a:r>
            <a:r>
              <a:rPr lang="fr-FR" err="1"/>
              <a:t>it will Be enough</a:t>
            </a:r>
            <a:r>
              <a:rPr lang="fr-FR"/>
              <a:t>.</a:t>
            </a:r>
            <a:r>
              <a:t> </a:t>
            </a:r>
            <a:r>
              <a:rPr lang="fr-FR"/>
              <a:t>Make </a:t>
            </a:r>
            <a:r>
              <a:rPr lang="fr-FR" err="1"/>
              <a:t>every Word </a:t>
            </a:r>
            <a:r>
              <a:rPr lang="fr-FR"/>
              <a:t>count.</a:t>
            </a:r>
            <a:r>
              <a:t> </a:t>
            </a:r>
            <a:r>
              <a:rPr lang="fr-FR"/>
              <a:t>Say </a:t>
            </a:r>
            <a:r>
              <a:rPr lang="fr-FR" err="1"/>
              <a:t>it </a:t>
            </a:r>
            <a:r>
              <a:rPr lang="fr-FR"/>
              <a:t>like </a:t>
            </a:r>
            <a:r>
              <a:rPr lang="fr-FR" err="1"/>
              <a:t>you would </a:t>
            </a:r>
            <a:r>
              <a:rPr lang="fr-FR"/>
              <a:t>in the room.</a:t>
            </a:r>
            <a:endParaRPr lang="fr-FR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fr-FR" noProof="0"/>
              <a:t>Depending This </a:t>
            </a:r>
            <a:r>
              <a:rPr lang="fr-FR" noProof="0" err="1"/>
              <a:t>is where you </a:t>
            </a:r>
            <a:r>
              <a:rPr lang="fr-FR" noProof="0"/>
              <a:t>make </a:t>
            </a:r>
            <a:r>
              <a:rPr lang="fr-FR" noProof="0" err="1"/>
              <a:t>your </a:t>
            </a:r>
            <a:r>
              <a:rPr lang="fr-FR" noProof="0"/>
              <a:t>box </a:t>
            </a:r>
            <a:r>
              <a:rPr lang="fr-FR" noProof="0" err="1"/>
              <a:t>with obviousness </a:t>
            </a:r>
            <a:r>
              <a:rPr lang="fr-FR" noProof="0"/>
              <a:t>and information.</a:t>
            </a:r>
            <a:r>
              <a:t> </a:t>
            </a:r>
            <a:r>
              <a:rPr lang="fr-FR" noProof="0"/>
              <a:t>Concise </a:t>
            </a:r>
            <a:r>
              <a:rPr lang="fr-FR" noProof="0" err="1"/>
              <a:t>Keep </a:t>
            </a:r>
            <a:r>
              <a:rPr lang="fr-FR" noProof="0"/>
              <a:t>sentences.</a:t>
            </a:r>
            <a:r>
              <a:t> </a:t>
            </a:r>
            <a:r>
              <a:rPr lang="fr-FR" noProof="0" err="1"/>
              <a:t>Avoid </a:t>
            </a:r>
            <a:r>
              <a:rPr lang="fr-FR" noProof="0"/>
              <a:t>jargon and </a:t>
            </a:r>
            <a:r>
              <a:rPr lang="fr-FR" noProof="0" err="1"/>
              <a:t>repetition</a:t>
            </a:r>
            <a:r>
              <a:rPr lang="fr-FR" noProof="0"/>
              <a:t>.</a:t>
            </a:r>
          </a:p>
          <a:p>
            <a:pPr lvl="1"/>
            <a:r>
              <a:rPr lang="fr-FR" noProof="0"/>
              <a:t>Bullet 1:</a:t>
            </a:r>
            <a:r>
              <a:t> </a:t>
            </a:r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/>
              <a:t>Bullet 2:</a:t>
            </a:r>
            <a:r>
              <a:t> </a:t>
            </a:r>
            <a:r>
              <a:rPr lang="fr-FR" noProof="0" err="1"/>
              <a:t>Third level</a:t>
            </a:r>
            <a:endParaRPr lang="fr-FR" noProof="0"/>
          </a:p>
          <a:p>
            <a:pPr lvl="3"/>
            <a:r>
              <a:rPr lang="fr-FR" noProof="0"/>
              <a:t>Bullet 3:</a:t>
            </a:r>
            <a:r>
              <a:t> </a:t>
            </a:r>
            <a:r>
              <a:rPr lang="fr-FR" noProof="0" err="1"/>
              <a:t>Fourth level</a:t>
            </a:r>
            <a:endParaRPr lang="fr-FR" noProof="0"/>
          </a:p>
          <a:p>
            <a:pPr lvl="4"/>
            <a:r>
              <a:rPr lang="fr-FR" noProof="0"/>
              <a:t>Bullet 4:</a:t>
            </a:r>
            <a:r>
              <a:t> </a:t>
            </a:r>
            <a:r>
              <a:rPr lang="fr-FR" noProof="0" err="1"/>
              <a:t>Fifth level</a:t>
            </a:r>
            <a:endParaRPr lang="fr-FR" noProof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fr-FR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fr-FR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89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152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/asrKY4Qkmx11HkzQz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526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B4B4B4"/>
          </p15:clr>
        </p15:guide>
        <p15:guide id="2" orient="horz" pos="480">
          <p15:clr>
            <a:srgbClr val="B4B4B4"/>
          </p15:clr>
        </p15:guide>
        <p15:guide id="3" orient="horz" pos="720">
          <p15:clr>
            <a:srgbClr val="B4B4B4"/>
          </p15:clr>
        </p15:guide>
        <p15:guide id="4" orient="horz" pos="960">
          <p15:clr>
            <a:srgbClr val="B4B4B4"/>
          </p15:clr>
        </p15:guide>
        <p15:guide id="5" orient="horz" pos="1200">
          <p15:clr>
            <a:srgbClr val="B4B4B4"/>
          </p15:clr>
        </p15:guide>
        <p15:guide id="6" orient="horz" pos="1440">
          <p15:clr>
            <a:srgbClr val="B4B4B4"/>
          </p15:clr>
        </p15:guide>
        <p15:guide id="7" orient="horz" pos="1680">
          <p15:clr>
            <a:srgbClr val="B4B4B4"/>
          </p15:clr>
        </p15:guide>
        <p15:guide id="8" orient="horz" pos="1920">
          <p15:clr>
            <a:srgbClr val="B4B4B4"/>
          </p15:clr>
        </p15:guide>
        <p15:guide id="9" orient="horz" pos="2160">
          <p15:clr>
            <a:srgbClr val="B4B4B4"/>
          </p15:clr>
        </p15:guide>
        <p15:guide id="10" orient="horz" pos="2400">
          <p15:clr>
            <a:srgbClr val="B4B4B4"/>
          </p15:clr>
        </p15:guide>
        <p15:guide id="11" orient="horz" pos="2640">
          <p15:clr>
            <a:srgbClr val="B4B4B4"/>
          </p15:clr>
        </p15:guide>
        <p15:guide id="12" orient="horz" pos="2880">
          <p15:clr>
            <a:srgbClr val="B4B4B4"/>
          </p15:clr>
        </p15:guide>
        <p15:guide id="13" orient="horz" pos="3120">
          <p15:clr>
            <a:srgbClr val="B4B4B4"/>
          </p15:clr>
        </p15:guide>
        <p15:guide id="14" orient="horz" pos="3360">
          <p15:clr>
            <a:srgbClr val="B4B4B4"/>
          </p15:clr>
        </p15:guide>
        <p15:guide id="15" orient="horz" pos="3600">
          <p15:clr>
            <a:srgbClr val="B4B4B4"/>
          </p15:clr>
        </p15:guide>
        <p15:guide id="16" orient="horz" pos="3840">
          <p15:clr>
            <a:srgbClr val="B4B4B4"/>
          </p15:clr>
        </p15:guide>
        <p15:guide id="17" orient="horz" pos="4080">
          <p15:clr>
            <a:srgbClr val="B4B4B4"/>
          </p15:clr>
        </p15:guide>
        <p15:guide id="18" orient="horz" pos="4320">
          <p15:clr>
            <a:srgbClr val="B4B4B4"/>
          </p15:clr>
        </p15:guide>
        <p15:guide id="19" pos="240">
          <p15:clr>
            <a:srgbClr val="B4B4B4"/>
          </p15:clr>
        </p15:guide>
        <p15:guide id="20" pos="480">
          <p15:clr>
            <a:srgbClr val="B4B4B4"/>
          </p15:clr>
        </p15:guide>
        <p15:guide id="21" pos="720">
          <p15:clr>
            <a:srgbClr val="B4B4B4"/>
          </p15:clr>
        </p15:guide>
        <p15:guide id="22" pos="960">
          <p15:clr>
            <a:srgbClr val="B4B4B4"/>
          </p15:clr>
        </p15:guide>
        <p15:guide id="23" pos="1200">
          <p15:clr>
            <a:srgbClr val="B4B4B4"/>
          </p15:clr>
        </p15:guide>
        <p15:guide id="24" pos="1440">
          <p15:clr>
            <a:srgbClr val="B4B4B4"/>
          </p15:clr>
        </p15:guide>
        <p15:guide id="25" pos="1680">
          <p15:clr>
            <a:srgbClr val="B4B4B4"/>
          </p15:clr>
        </p15:guide>
        <p15:guide id="26" pos="1920">
          <p15:clr>
            <a:srgbClr val="B4B4B4"/>
          </p15:clr>
        </p15:guide>
        <p15:guide id="27" pos="2160">
          <p15:clr>
            <a:srgbClr val="B4B4B4"/>
          </p15:clr>
        </p15:guide>
        <p15:guide id="28" pos="2400">
          <p15:clr>
            <a:srgbClr val="B4B4B4"/>
          </p15:clr>
        </p15:guide>
        <p15:guide id="29" pos="2640">
          <p15:clr>
            <a:srgbClr val="B4B4B4"/>
          </p15:clr>
        </p15:guide>
        <p15:guide id="30" pos="2880">
          <p15:clr>
            <a:srgbClr val="B4B4B4"/>
          </p15:clr>
        </p15:guide>
        <p15:guide id="31" pos="3120">
          <p15:clr>
            <a:srgbClr val="B4B4B4"/>
          </p15:clr>
        </p15:guide>
        <p15:guide id="32" pos="3360">
          <p15:clr>
            <a:srgbClr val="B4B4B4"/>
          </p15:clr>
        </p15:guide>
        <p15:guide id="33" pos="3600">
          <p15:clr>
            <a:srgbClr val="B4B4B4"/>
          </p15:clr>
        </p15:guide>
        <p15:guide id="34" pos="3840">
          <p15:clr>
            <a:srgbClr val="B4B4B4"/>
          </p15:clr>
        </p15:guide>
        <p15:guide id="35" pos="4080">
          <p15:clr>
            <a:srgbClr val="B4B4B4"/>
          </p15:clr>
        </p15:guide>
        <p15:guide id="36" pos="4320">
          <p15:clr>
            <a:srgbClr val="B4B4B4"/>
          </p15:clr>
        </p15:guide>
        <p15:guide id="37" pos="4560">
          <p15:clr>
            <a:srgbClr val="B4B4B4"/>
          </p15:clr>
        </p15:guide>
        <p15:guide id="38" pos="4800">
          <p15:clr>
            <a:srgbClr val="B4B4B4"/>
          </p15:clr>
        </p15:guide>
        <p15:guide id="39" pos="5040">
          <p15:clr>
            <a:srgbClr val="B4B4B4"/>
          </p15:clr>
        </p15:guide>
        <p15:guide id="40" pos="5280">
          <p15:clr>
            <a:srgbClr val="B4B4B4"/>
          </p15:clr>
        </p15:guide>
        <p15:guide id="41" pos="5520">
          <p15:clr>
            <a:srgbClr val="B4B4B4"/>
          </p15:clr>
        </p15:guide>
        <p15:guide id="42" pos="5760">
          <p15:clr>
            <a:srgbClr val="B4B4B4"/>
          </p15:clr>
        </p15:guide>
        <p15:guide id="43" pos="6000">
          <p15:clr>
            <a:srgbClr val="B4B4B4"/>
          </p15:clr>
        </p15:guide>
        <p15:guide id="44" pos="6240">
          <p15:clr>
            <a:srgbClr val="B4B4B4"/>
          </p15:clr>
        </p15:guide>
        <p15:guide id="45" pos="6480">
          <p15:clr>
            <a:srgbClr val="B4B4B4"/>
          </p15:clr>
        </p15:guide>
        <p15:guide id="46" pos="6720">
          <p15:clr>
            <a:srgbClr val="B4B4B4"/>
          </p15:clr>
        </p15:guide>
        <p15:guide id="47" pos="6960">
          <p15:clr>
            <a:srgbClr val="B4B4B4"/>
          </p15:clr>
        </p15:guide>
        <p15:guide id="48" pos="7200">
          <p15:clr>
            <a:srgbClr val="B4B4B4"/>
          </p15:clr>
        </p15:guide>
        <p15:guide id="49" pos="7440">
          <p15:clr>
            <a:srgbClr val="B4B4B4"/>
          </p15:clr>
        </p15:guide>
        <p15:guide id="50" pos="7680">
          <p15:clr>
            <a:srgbClr val="B4B4B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06F7F9-B684-4A45-9D62-2317C1D42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2982301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06F7F9-B684-4A45-9D62-2317C1D42D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65187" y="6610645"/>
            <a:ext cx="126637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>
                <a:solidFill>
                  <a:schemeClr val="accent3"/>
                </a:solidFill>
                <a:latin typeface="Arial "/>
              </a:rPr>
              <a:t>A.T. Kearney 36/15576_dt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53952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80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9.bin"/><Relationship Id="rId9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E63C457B-65CE-464D-B637-0EFCA58C4A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735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E63C457B-65CE-464D-B637-0EFCA58C4A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rid4">
            <a:extLst>
              <a:ext uri="{FF2B5EF4-FFF2-40B4-BE49-F238E27FC236}">
                <a16:creationId xmlns:a16="http://schemas.microsoft.com/office/drawing/2014/main" id="{A0338159-91A6-4419-956F-96AE010DB6F9}"/>
              </a:ext>
            </a:extLst>
          </p:cNvPr>
          <p:cNvSpPr/>
          <p:nvPr/>
        </p:nvSpPr>
        <p:spPr bwMode="gray">
          <a:xfrm>
            <a:off x="9906000" y="0"/>
            <a:ext cx="228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5F5F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Grid3">
            <a:extLst>
              <a:ext uri="{FF2B5EF4-FFF2-40B4-BE49-F238E27FC236}">
                <a16:creationId xmlns:a16="http://schemas.microsoft.com/office/drawing/2014/main" id="{71CC19C8-8AC1-43E7-8D7F-4FD7C929B7FE}"/>
              </a:ext>
            </a:extLst>
          </p:cNvPr>
          <p:cNvSpPr/>
          <p:nvPr/>
        </p:nvSpPr>
        <p:spPr bwMode="gray">
          <a:xfrm>
            <a:off x="7620000" y="0"/>
            <a:ext cx="2286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" name="Grid2">
            <a:extLst>
              <a:ext uri="{FF2B5EF4-FFF2-40B4-BE49-F238E27FC236}">
                <a16:creationId xmlns:a16="http://schemas.microsoft.com/office/drawing/2014/main" id="{1D7EEC2D-4550-4D01-95F6-DF032C549481}"/>
              </a:ext>
            </a:extLst>
          </p:cNvPr>
          <p:cNvSpPr/>
          <p:nvPr/>
        </p:nvSpPr>
        <p:spPr bwMode="gray">
          <a:xfrm>
            <a:off x="5334000" y="0"/>
            <a:ext cx="228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5F5F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" name="Grid1">
            <a:extLst>
              <a:ext uri="{FF2B5EF4-FFF2-40B4-BE49-F238E27FC236}">
                <a16:creationId xmlns:a16="http://schemas.microsoft.com/office/drawing/2014/main" id="{9D2C0F45-E6C7-4C88-9ADD-5054634CD5E1}"/>
              </a:ext>
            </a:extLst>
          </p:cNvPr>
          <p:cNvSpPr/>
          <p:nvPr/>
        </p:nvSpPr>
        <p:spPr bwMode="gray">
          <a:xfrm>
            <a:off x="3048000" y="0"/>
            <a:ext cx="2286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D45A94-AA6D-4FB6-8C8A-55CF668DD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Your Kearney project team</a:t>
            </a:r>
          </a:p>
        </p:txBody>
      </p:sp>
      <p:sp>
        <p:nvSpPr>
          <p:cNvPr id="25" name="Grid1">
            <a:extLst>
              <a:ext uri="{FF2B5EF4-FFF2-40B4-BE49-F238E27FC236}">
                <a16:creationId xmlns:a16="http://schemas.microsoft.com/office/drawing/2014/main" id="{482B1266-D5CA-4CD0-8CA5-FED6EC2B317F}"/>
              </a:ext>
            </a:extLst>
          </p:cNvPr>
          <p:cNvSpPr/>
          <p:nvPr/>
        </p:nvSpPr>
        <p:spPr bwMode="gray">
          <a:xfrm>
            <a:off x="5334000" y="0"/>
            <a:ext cx="2286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81000" tIns="381000" rIns="381000" bIns="38100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2EA18D-05D5-41D8-BFD8-24FC47BFC8AF}"/>
              </a:ext>
            </a:extLst>
          </p:cNvPr>
          <p:cNvSpPr/>
          <p:nvPr/>
        </p:nvSpPr>
        <p:spPr bwMode="gray">
          <a:xfrm>
            <a:off x="3429000" y="6353175"/>
            <a:ext cx="8378825" cy="381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700">
                <a:solidFill>
                  <a:schemeClr val="tx1"/>
                </a:solidFill>
                <a:latin typeface="Arial" panose="020B0604020202020204" pitchFamily="34" charset="0"/>
              </a:rPr>
              <a:t>Source: Kearney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364440B8-71C8-D390-24F6-A60EAE471C54}"/>
              </a:ext>
            </a:extLst>
          </p:cNvPr>
          <p:cNvSpPr txBox="1">
            <a:spLocks/>
          </p:cNvSpPr>
          <p:nvPr/>
        </p:nvSpPr>
        <p:spPr>
          <a:xfrm>
            <a:off x="3048000" y="2394856"/>
            <a:ext cx="2286000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>
                <a:solidFill>
                  <a:srgbClr val="7823DC"/>
                </a:solidFill>
                <a:latin typeface="Arial" panose="020B0604020202020204"/>
              </a:rPr>
              <a:t>First Name Last Nam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dirty="0">
                <a:solidFill>
                  <a:srgbClr val="7823DC"/>
                </a:solidFill>
                <a:latin typeface="Arial" panose="020B0604020202020204"/>
              </a:rPr>
              <a:t>Position, Office Location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7823D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lvl="1" indent="0">
              <a:spcBef>
                <a:spcPts val="300"/>
              </a:spcBef>
              <a:buClr>
                <a:schemeClr val="tx1"/>
              </a:buClr>
              <a:buSzPct val="100000"/>
              <a:buNone/>
            </a:pPr>
            <a:r>
              <a:rPr lang="en-US" sz="1200" b="0" dirty="0"/>
              <a:t>x</a:t>
            </a:r>
            <a:r>
              <a:rPr lang="en-US" sz="1200" b="0" dirty="0">
                <a:solidFill>
                  <a:schemeClr val="tx1"/>
                </a:solidFill>
              </a:rPr>
              <a:t>+ years of consulting and industry experience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200" dirty="0">
                <a:solidFill>
                  <a:schemeClr val="tx1"/>
                </a:solidFill>
              </a:rPr>
              <a:t>Insert 3 bullet points from the section “Selected consulting engagement experience”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/>
            </a:pPr>
            <a:endParaRPr lang="en-US" altLang="en-US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622BA4-6527-F22C-952C-168BC3646B84}"/>
              </a:ext>
            </a:extLst>
          </p:cNvPr>
          <p:cNvSpPr/>
          <p:nvPr/>
        </p:nvSpPr>
        <p:spPr>
          <a:xfrm>
            <a:off x="380999" y="3429000"/>
            <a:ext cx="2616843" cy="5498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>
              <a:lnSpc>
                <a:spcPct val="90000"/>
              </a:lnSpc>
            </a:pPr>
            <a:r>
              <a:rPr lang="en-US" sz="1100" b="1">
                <a:solidFill>
                  <a:schemeClr val="accent3"/>
                </a:solidFill>
                <a:latin typeface="Arial" panose="020B0604020202020204" pitchFamily="34" charset="0"/>
              </a:rPr>
              <a:t>Project Team</a:t>
            </a:r>
          </a:p>
          <a:p>
            <a:pPr>
              <a:lnSpc>
                <a:spcPct val="90000"/>
              </a:lnSpc>
            </a:pPr>
            <a:endParaRPr lang="en-US" sz="1100" b="1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6B94267-AB83-40C4-8230-2D3D4FB9738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340" t="9972" r="15239" b="17313"/>
          <a:stretch/>
        </p:blipFill>
        <p:spPr>
          <a:xfrm>
            <a:off x="3048000" y="0"/>
            <a:ext cx="2286000" cy="2286001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DDE0E02-07F7-4F41-169D-461D785AA800}"/>
              </a:ext>
            </a:extLst>
          </p:cNvPr>
          <p:cNvSpPr txBox="1">
            <a:spLocks/>
          </p:cNvSpPr>
          <p:nvPr/>
        </p:nvSpPr>
        <p:spPr>
          <a:xfrm>
            <a:off x="5340446" y="2394856"/>
            <a:ext cx="2279554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400"/>
              </a:spcBef>
              <a:spcAft>
                <a:spcPts val="400"/>
              </a:spcAft>
              <a:defRPr/>
            </a:pPr>
            <a:r>
              <a:rPr lang="en-US" b="1" dirty="0">
                <a:solidFill>
                  <a:srgbClr val="7823DC"/>
                </a:solidFill>
              </a:rPr>
              <a:t>First Name Last Nam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dirty="0">
                <a:solidFill>
                  <a:srgbClr val="7823DC"/>
                </a:solidFill>
              </a:rPr>
              <a:t>Position, Office Location</a:t>
            </a:r>
            <a:endParaRPr lang="en-US" sz="1100" dirty="0">
              <a:solidFill>
                <a:srgbClr val="7823DC"/>
              </a:solidFill>
            </a:endParaRPr>
          </a:p>
          <a:p>
            <a:pPr marL="0" marR="0" lvl="1" indent="0" algn="l" defTabSz="914400" eaLnBrk="0" fontAlgn="auto" latinLnBrk="0" hangingPunc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000000"/>
              </a:buClr>
              <a:buSzPct val="100000"/>
              <a:buFont typeface="System Font Regular"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x+ years consulting and industry experience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200" dirty="0"/>
              <a:t>Insert 3 bullet points from the section “Selected consulting engagement experience”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C48A55F-0BC1-8EED-1775-72E52CC710D6}"/>
              </a:ext>
            </a:extLst>
          </p:cNvPr>
          <p:cNvSpPr txBox="1">
            <a:spLocks/>
          </p:cNvSpPr>
          <p:nvPr/>
        </p:nvSpPr>
        <p:spPr>
          <a:xfrm>
            <a:off x="7626444" y="2394856"/>
            <a:ext cx="2279555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400"/>
              </a:spcBef>
              <a:spcAft>
                <a:spcPts val="400"/>
              </a:spcAft>
              <a:defRPr/>
            </a:pPr>
            <a:r>
              <a:rPr lang="en-US" b="1" dirty="0">
                <a:solidFill>
                  <a:srgbClr val="7823DC"/>
                </a:solidFill>
              </a:rPr>
              <a:t>First Name Last Nam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dirty="0">
                <a:solidFill>
                  <a:srgbClr val="7823DC"/>
                </a:solidFill>
              </a:rPr>
              <a:t>Position, Office Location</a:t>
            </a:r>
            <a:endParaRPr lang="en-US" sz="1100" dirty="0">
              <a:solidFill>
                <a:srgbClr val="7823DC"/>
              </a:solidFill>
            </a:endParaRP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1200" dirty="0"/>
              <a:t>x</a:t>
            </a:r>
            <a:r>
              <a:rPr lang="en-US" sz="1200" b="0" dirty="0">
                <a:solidFill>
                  <a:schemeClr val="tx1"/>
                </a:solidFill>
              </a:rPr>
              <a:t>+ years of consulting experience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200" dirty="0"/>
              <a:t>Insert 3 bullet points from the section “Selected consulting engagement experience”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ABD6579-2551-FA99-3D35-AF6D3C896F84}"/>
              </a:ext>
            </a:extLst>
          </p:cNvPr>
          <p:cNvSpPr txBox="1">
            <a:spLocks/>
          </p:cNvSpPr>
          <p:nvPr/>
        </p:nvSpPr>
        <p:spPr>
          <a:xfrm>
            <a:off x="9912442" y="2394856"/>
            <a:ext cx="2279557" cy="3048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400"/>
              </a:spcBef>
              <a:spcAft>
                <a:spcPts val="400"/>
              </a:spcAft>
              <a:defRPr/>
            </a:pPr>
            <a:r>
              <a:rPr lang="en-US" b="1" dirty="0">
                <a:solidFill>
                  <a:srgbClr val="7823DC"/>
                </a:solidFill>
              </a:rPr>
              <a:t>First Name Last Nam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23D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dirty="0">
                <a:solidFill>
                  <a:srgbClr val="7823DC"/>
                </a:solidFill>
              </a:rPr>
              <a:t>Position, Office Location</a:t>
            </a:r>
            <a:endParaRPr lang="en-US" sz="1100" dirty="0">
              <a:solidFill>
                <a:srgbClr val="7823DC"/>
              </a:solidFill>
            </a:endParaRPr>
          </a:p>
          <a:p>
            <a:pPr lvl="0">
              <a:spcBef>
                <a:spcPts val="600"/>
              </a:spcBef>
              <a:spcAft>
                <a:spcPts val="300"/>
              </a:spcAft>
            </a:pPr>
            <a:r>
              <a:rPr lang="en-US" sz="1200" dirty="0"/>
              <a:t>x</a:t>
            </a:r>
            <a:r>
              <a:rPr lang="en-US" sz="1200" b="0" dirty="0">
                <a:solidFill>
                  <a:schemeClr val="tx1"/>
                </a:solidFill>
              </a:rPr>
              <a:t>+ years of consulting and industry experience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200" dirty="0"/>
              <a:t>Insert 3 bullet points from the section “Selected consulting engagement experience”</a:t>
            </a:r>
          </a:p>
          <a:p>
            <a:pPr marL="152400" lvl="1" indent="-1524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endParaRPr lang="en-US" sz="1200" b="0" dirty="0">
              <a:solidFill>
                <a:schemeClr val="tx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99CFA46-EA2A-C7B4-BDA8-B75BFD27E84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162" t="7263" r="7372" b="15270"/>
          <a:stretch/>
        </p:blipFill>
        <p:spPr>
          <a:xfrm>
            <a:off x="5337085" y="0"/>
            <a:ext cx="2286000" cy="2286000"/>
          </a:xfrm>
          <a:prstGeom prst="rect">
            <a:avLst/>
          </a:prstGeom>
          <a:noFill/>
        </p:spPr>
      </p:pic>
      <p:pic>
        <p:nvPicPr>
          <p:cNvPr id="8" name="Picture Placeholder 20" descr="A person in a suit&#10;&#10;Description automatically generated">
            <a:extLst>
              <a:ext uri="{FF2B5EF4-FFF2-40B4-BE49-F238E27FC236}">
                <a16:creationId xmlns:a16="http://schemas.microsoft.com/office/drawing/2014/main" id="{D1C2A192-5A83-9A49-241C-5FD47B56F1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3" r="20353" b="10808"/>
          <a:stretch/>
        </p:blipFill>
        <p:spPr>
          <a:xfrm>
            <a:off x="9906000" y="0"/>
            <a:ext cx="2286000" cy="2292464"/>
          </a:xfrm>
          <a:prstGeom prst="rect">
            <a:avLst/>
          </a:prstGeom>
        </p:spPr>
      </p:pic>
      <p:pic>
        <p:nvPicPr>
          <p:cNvPr id="10" name="Picture Placeholder 14">
            <a:extLst>
              <a:ext uri="{FF2B5EF4-FFF2-40B4-BE49-F238E27FC236}">
                <a16:creationId xmlns:a16="http://schemas.microsoft.com/office/drawing/2014/main" id="{31077477-9788-B6ED-B334-591A314DA23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44" r="1787" b="21328"/>
          <a:stretch/>
        </p:blipFill>
        <p:spPr>
          <a:xfrm>
            <a:off x="7626443" y="1"/>
            <a:ext cx="2282642" cy="22924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F62C275-255B-2C4D-02CF-3D4975C8E005}"/>
              </a:ext>
            </a:extLst>
          </p:cNvPr>
          <p:cNvSpPr txBox="1"/>
          <p:nvPr/>
        </p:nvSpPr>
        <p:spPr>
          <a:xfrm>
            <a:off x="3519342" y="1143000"/>
            <a:ext cx="134331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de-CH" sz="1400" b="1" dirty="0" err="1">
                <a:solidFill>
                  <a:srgbClr val="FF0000"/>
                </a:solidFill>
              </a:rPr>
              <a:t>Replace</a:t>
            </a:r>
            <a:r>
              <a:rPr lang="de-CH" sz="1400" b="1" dirty="0">
                <a:solidFill>
                  <a:srgbClr val="FF0000"/>
                </a:solidFill>
              </a:rPr>
              <a:t> Pi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85B17A-0424-4059-8141-03AE0C512E42}"/>
              </a:ext>
            </a:extLst>
          </p:cNvPr>
          <p:cNvSpPr txBox="1"/>
          <p:nvPr/>
        </p:nvSpPr>
        <p:spPr>
          <a:xfrm>
            <a:off x="5895684" y="1132112"/>
            <a:ext cx="134331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de-CH" sz="1400" b="1" dirty="0" err="1">
                <a:solidFill>
                  <a:srgbClr val="FF0000"/>
                </a:solidFill>
              </a:rPr>
              <a:t>Replace</a:t>
            </a:r>
            <a:r>
              <a:rPr lang="de-CH" sz="1400" b="1" dirty="0">
                <a:solidFill>
                  <a:srgbClr val="FF0000"/>
                </a:solidFill>
              </a:rPr>
              <a:t> Pictu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442A61D-D631-87EF-304C-D354E49B51B2}"/>
              </a:ext>
            </a:extLst>
          </p:cNvPr>
          <p:cNvSpPr txBox="1"/>
          <p:nvPr/>
        </p:nvSpPr>
        <p:spPr>
          <a:xfrm>
            <a:off x="8089799" y="1046050"/>
            <a:ext cx="134331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de-CH" sz="1400" b="1" dirty="0" err="1">
                <a:solidFill>
                  <a:srgbClr val="FF0000"/>
                </a:solidFill>
              </a:rPr>
              <a:t>Replace</a:t>
            </a:r>
            <a:r>
              <a:rPr lang="de-CH" sz="1400" b="1" dirty="0">
                <a:solidFill>
                  <a:srgbClr val="FF0000"/>
                </a:solidFill>
              </a:rPr>
              <a:t> Pi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E04F50-5788-B8C9-372B-87B5158B6B91}"/>
              </a:ext>
            </a:extLst>
          </p:cNvPr>
          <p:cNvSpPr txBox="1"/>
          <p:nvPr/>
        </p:nvSpPr>
        <p:spPr>
          <a:xfrm>
            <a:off x="10464509" y="1080069"/>
            <a:ext cx="134331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de-CH" sz="1400" b="1" dirty="0" err="1">
                <a:solidFill>
                  <a:srgbClr val="FF0000"/>
                </a:solidFill>
              </a:rPr>
              <a:t>Replace</a:t>
            </a:r>
            <a:r>
              <a:rPr lang="de-CH" sz="1400" b="1" dirty="0">
                <a:solidFill>
                  <a:srgbClr val="FF0000"/>
                </a:solidFill>
              </a:rPr>
              <a:t> Picture</a:t>
            </a:r>
          </a:p>
        </p:txBody>
      </p:sp>
    </p:spTree>
    <p:extLst>
      <p:ext uri="{BB962C8B-B14F-4D97-AF65-F5344CB8AC3E}">
        <p14:creationId xmlns:p14="http://schemas.microsoft.com/office/powerpoint/2010/main" val="1009552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Im0DbfH.ZmHUs6mLA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heme/theme1.xml><?xml version="1.0" encoding="utf-8"?>
<a:theme xmlns:a="http://schemas.openxmlformats.org/drawingml/2006/main" name="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10.xml><?xml version="1.0" encoding="utf-8"?>
<a:theme xmlns:a="http://schemas.openxmlformats.org/drawingml/2006/main" name="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1.xml><?xml version="1.0" encoding="utf-8"?>
<a:theme xmlns:a="http://schemas.openxmlformats.org/drawingml/2006/main" name="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3.xml><?xml version="1.0" encoding="utf-8"?>
<a:theme xmlns:a="http://schemas.openxmlformats.org/drawingml/2006/main" name="2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KEARNEY_Report_update_v20.potx" id="{0B0A0E83-C00B-493D-AD96-F919ECB545CA}" vid="{78770B28-1E61-450F-92E1-CFF6A6B44729}"/>
    </a:ext>
  </a:extLst>
</a:theme>
</file>

<file path=ppt/theme/theme4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5.xml><?xml version="1.0" encoding="utf-8"?>
<a:theme xmlns:a="http://schemas.openxmlformats.org/drawingml/2006/main" name="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6.xml><?xml version="1.0" encoding="utf-8"?>
<a:theme xmlns:a="http://schemas.openxmlformats.org/drawingml/2006/main" name="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2C5594CE-1A1A-49A6-9040-B766E1080F62}" vid="{8292DBFE-9151-43AD-BFDE-B57F97F81CD4}"/>
    </a:ext>
  </a:extLst>
</a:theme>
</file>

<file path=ppt/theme/theme7.xml><?xml version="1.0" encoding="utf-8"?>
<a:theme xmlns:a="http://schemas.openxmlformats.org/drawingml/2006/main" name="3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8.xml><?xml version="1.0" encoding="utf-8"?>
<a:theme xmlns:a="http://schemas.openxmlformats.org/drawingml/2006/main" name="4_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9.xml><?xml version="1.0" encoding="utf-8"?>
<a:theme xmlns:a="http://schemas.openxmlformats.org/drawingml/2006/main" name="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db725bd-2286-4107-8f60-7890e9b3234a">
      <UserInfo>
        <DisplayName>Hoppe, Linus</DisplayName>
        <AccountId>10</AccountId>
        <AccountType/>
      </UserInfo>
      <UserInfo>
        <DisplayName>Freyberg, Axel</DisplayName>
        <AccountId>24</AccountId>
        <AccountType/>
      </UserInfo>
      <UserInfo>
        <DisplayName>Firth, Christophe</DisplayName>
        <AccountId>21</AccountId>
        <AccountType/>
      </UserInfo>
      <UserInfo>
        <DisplayName>Burgstaller, Theresa</DisplayName>
        <AccountId>18</AccountId>
        <AccountType/>
      </UserInfo>
      <UserInfo>
        <DisplayName>Neunkirchen, Christoph</DisplayName>
        <AccountId>39</AccountId>
        <AccountType/>
      </UserInfo>
      <UserInfo>
        <DisplayName>Tybus, Moritz</DisplayName>
        <AccountId>17</AccountId>
        <AccountType/>
      </UserInfo>
      <UserInfo>
        <DisplayName>Krogmann, Anna</DisplayName>
        <AccountId>55</AccountId>
        <AccountType/>
      </UserInfo>
      <UserInfo>
        <DisplayName>Oliveira, Virgilio</DisplayName>
        <AccountId>57</AccountId>
        <AccountType/>
      </UserInfo>
    </SharedWithUsers>
    <TaxCatchAll xmlns="4db725bd-2286-4107-8f60-7890e9b3234a" xsi:nil="true"/>
    <lcf76f155ced4ddcb4097134ff3c332f xmlns="643e7cb0-4e6a-4c0f-ade4-62e58230feb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3B0DF881FF134EB4099DF30672DBB4" ma:contentTypeVersion="12" ma:contentTypeDescription="Create a new document." ma:contentTypeScope="" ma:versionID="9c01a2a16eb61769fcd3ac6c45cd6530">
  <xsd:schema xmlns:xsd="http://www.w3.org/2001/XMLSchema" xmlns:xs="http://www.w3.org/2001/XMLSchema" xmlns:p="http://schemas.microsoft.com/office/2006/metadata/properties" xmlns:ns2="4db725bd-2286-4107-8f60-7890e9b3234a" xmlns:ns3="643e7cb0-4e6a-4c0f-ade4-62e58230feb2" targetNamespace="http://schemas.microsoft.com/office/2006/metadata/properties" ma:root="true" ma:fieldsID="9b56bfb871495a9b8ce24dc798af124f" ns2:_="" ns3:_="">
    <xsd:import namespace="4db725bd-2286-4107-8f60-7890e9b3234a"/>
    <xsd:import namespace="643e7cb0-4e6a-4c0f-ade4-62e58230feb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725bd-2286-4107-8f60-7890e9b3234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6730c64-feca-4f85-a172-e64d350bbe0a}" ma:internalName="TaxCatchAll" ma:showField="CatchAllData" ma:web="4db725bd-2286-4107-8f60-7890e9b323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3e7cb0-4e6a-4c0f-ade4-62e58230fe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c350327-7f8b-4e4c-9470-6526d29b83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F2E5EA-2A40-4B44-957A-DC71D1B832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63DC16F-0ECA-4357-AF81-A8381DCAFF4F}">
  <ds:schemaRefs>
    <ds:schemaRef ds:uri="4db725bd-2286-4107-8f60-7890e9b3234a"/>
    <ds:schemaRef ds:uri="643e7cb0-4e6a-4c0f-ade4-62e58230feb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C0F4138-ECFC-4271-BC6F-D7958FBCE85E}">
  <ds:schemaRefs>
    <ds:schemaRef ds:uri="4db725bd-2286-4107-8f60-7890e9b3234a"/>
    <ds:schemaRef ds:uri="643e7cb0-4e6a-4c0f-ade4-62e58230fe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5</Words>
  <Application>Microsoft Office PowerPoint</Application>
  <PresentationFormat>Widescreen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Arial</vt:lpstr>
      <vt:lpstr>Arial </vt:lpstr>
      <vt:lpstr>Calibri</vt:lpstr>
      <vt:lpstr>System Font Regular</vt:lpstr>
      <vt:lpstr>Kearney Report Template</vt:lpstr>
      <vt:lpstr>1_Kearney Report Template</vt:lpstr>
      <vt:lpstr>2_Kearney Report Template</vt:lpstr>
      <vt:lpstr>Blank</vt:lpstr>
      <vt:lpstr>1_Blank</vt:lpstr>
      <vt:lpstr>2_Blank</vt:lpstr>
      <vt:lpstr>3_Kearney Report Template</vt:lpstr>
      <vt:lpstr>4_Kearney Report Template</vt:lpstr>
      <vt:lpstr>3_Blank</vt:lpstr>
      <vt:lpstr>4_Blank</vt:lpstr>
      <vt:lpstr>5_Blank</vt:lpstr>
      <vt:lpstr>think-cell Slide</vt:lpstr>
      <vt:lpstr>Your Kearney project tea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7S1_Kearney Media Credentials</dc:title>
  <dc:creator>Burgstaller, Theresa</dc:creator>
  <cp:lastModifiedBy>Ledebur-Wicheln, Gregor</cp:lastModifiedBy>
  <cp:revision>3</cp:revision>
  <dcterms:created xsi:type="dcterms:W3CDTF">2023-02-01T08:05:01Z</dcterms:created>
  <dcterms:modified xsi:type="dcterms:W3CDTF">2025-07-15T16:5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3B0DF881FF134EB4099DF30672DBB4</vt:lpwstr>
  </property>
  <property fmtid="{D5CDD505-2E9C-101B-9397-08002B2CF9AE}" pid="3" name="MSIP_Label_0e815a84-bb14-486b-9367-c1af54c95fa4_Enabled">
    <vt:lpwstr>true</vt:lpwstr>
  </property>
  <property fmtid="{D5CDD505-2E9C-101B-9397-08002B2CF9AE}" pid="4" name="MSIP_Label_0e815a84-bb14-486b-9367-c1af54c95fa4_SetDate">
    <vt:lpwstr>2023-02-01T08:05:02Z</vt:lpwstr>
  </property>
  <property fmtid="{D5CDD505-2E9C-101B-9397-08002B2CF9AE}" pid="5" name="MSIP_Label_0e815a84-bb14-486b-9367-c1af54c95fa4_Method">
    <vt:lpwstr>Standard</vt:lpwstr>
  </property>
  <property fmtid="{D5CDD505-2E9C-101B-9397-08002B2CF9AE}" pid="6" name="MSIP_Label_0e815a84-bb14-486b-9367-c1af54c95fa4_Name">
    <vt:lpwstr>Standard</vt:lpwstr>
  </property>
  <property fmtid="{D5CDD505-2E9C-101B-9397-08002B2CF9AE}" pid="7" name="MSIP_Label_0e815a84-bb14-486b-9367-c1af54c95fa4_SiteId">
    <vt:lpwstr>5dc645ed-297f-4dca-b0af-2339c71c5388</vt:lpwstr>
  </property>
  <property fmtid="{D5CDD505-2E9C-101B-9397-08002B2CF9AE}" pid="8" name="MSIP_Label_0e815a84-bb14-486b-9367-c1af54c95fa4_ActionId">
    <vt:lpwstr>d1fd8baf-eff8-4b91-ba0a-7de286e87689</vt:lpwstr>
  </property>
  <property fmtid="{D5CDD505-2E9C-101B-9397-08002B2CF9AE}" pid="9" name="MSIP_Label_0e815a84-bb14-486b-9367-c1af54c95fa4_ContentBits">
    <vt:lpwstr>0</vt:lpwstr>
  </property>
  <property fmtid="{D5CDD505-2E9C-101B-9397-08002B2CF9AE}" pid="10" name="MediaServiceImageTags">
    <vt:lpwstr/>
  </property>
</Properties>
</file>